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1.011566001888518</c:v>
                </c:pt>
                <c:pt idx="1">
                  <c:v>65.655234606361986</c:v>
                </c:pt>
                <c:pt idx="2">
                  <c:v>69.776141320355592</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6.190291999999992</c:v>
                </c:pt>
                <c:pt idx="1">
                  <c:v>6.4688270000000045</c:v>
                </c:pt>
                <c:pt idx="2">
                  <c:v>5.9588750000000061</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7.20185800188851</c:v>
                </c:pt>
                <c:pt idx="1">
                  <c:v>72.124061606361991</c:v>
                </c:pt>
                <c:pt idx="2">
                  <c:v>75.735016320355598</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5.99454330681381</c:v>
                </c:pt>
                <c:pt idx="1">
                  <c:v>166.409727595471</c:v>
                </c:pt>
                <c:pt idx="2">
                  <c:v>175.646515617383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1849010900282604</c:v>
                </c:pt>
                <c:pt idx="1">
                  <c:v>90.930307578574784</c:v>
                </c:pt>
                <c:pt idx="2">
                  <c:v>89.60012545083895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2.17944439684206</c:v>
                </c:pt>
                <c:pt idx="1">
                  <c:v>257.34003517404579</c:v>
                </c:pt>
                <c:pt idx="2">
                  <c:v>265.2466410682228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175.6465156173839</c:v>
                </c:pt>
                <c:pt idx="2">
                  <c:v>92.854238546431276</c:v>
                </c:pt>
                <c:pt idx="3">
                  <c:v>275.46240979721171</c:v>
                </c:pt>
                <c:pt idx="4">
                  <c:v>96.144416123569968</c:v>
                </c:pt>
                <c:pt idx="5">
                  <c:v>168.73494240553484</c:v>
                </c:pt>
                <c:pt idx="7">
                  <c:v>158.29900171818696</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89.600125450838959</c:v>
                </c:pt>
                <c:pt idx="2">
                  <c:v>64.756187373072379</c:v>
                </c:pt>
                <c:pt idx="3">
                  <c:v>175.82589979941855</c:v>
                </c:pt>
                <c:pt idx="4">
                  <c:v>89.023065594199622</c:v>
                </c:pt>
                <c:pt idx="5">
                  <c:v>233.66587724928621</c:v>
                </c:pt>
                <c:pt idx="7">
                  <c:v>140.81775750399419</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265.24664106822286</c:v>
                </c:pt>
                <c:pt idx="2">
                  <c:v>157.61042591950365</c:v>
                </c:pt>
                <c:pt idx="3">
                  <c:v>451.28830959663031</c:v>
                </c:pt>
                <c:pt idx="4">
                  <c:v>185.16748171776959</c:v>
                </c:pt>
                <c:pt idx="5">
                  <c:v>402.40081965482096</c:v>
                </c:pt>
                <c:pt idx="7">
                  <c:v>299.11675922218109</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8933527078776002</c:v>
                </c:pt>
                <c:pt idx="2">
                  <c:v>7.5099925120943478</c:v>
                </c:pt>
                <c:pt idx="3">
                  <c:v>7.5218214303086848</c:v>
                </c:pt>
                <c:pt idx="4">
                  <c:v>7.704123830134229</c:v>
                </c:pt>
                <c:pt idx="6">
                  <c:v>11.48740183013423</c:v>
                </c:pt>
                <c:pt idx="7">
                  <c:v>11.508877022545745</c:v>
                </c:pt>
                <c:pt idx="8">
                  <c:v>11.53506406440686</c:v>
                </c:pt>
                <c:pt idx="9">
                  <c:v>11.840344810644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5.6175927078776002</c:v>
                </c:pt>
                <c:pt idx="5">
                  <c:v>7.4283638301342299</c:v>
                </c:pt>
                <c:pt idx="10">
                  <c:v>7.840684810644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6166398042167478</c:v>
                </c:pt>
                <c:pt idx="2">
                  <c:v>1.1828918214337215E-2</c:v>
                </c:pt>
                <c:pt idx="3">
                  <c:v>0.18230239982554461</c:v>
                </c:pt>
                <c:pt idx="6">
                  <c:v>2.1475192411514788E-2</c:v>
                </c:pt>
                <c:pt idx="7">
                  <c:v>2.6187041861115149E-2</c:v>
                </c:pt>
                <c:pt idx="8">
                  <c:v>0.3646587462375401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27576000000000001</c:v>
                </c:pt>
                <c:pt idx="5">
                  <c:v>4.0590380000000001</c:v>
                </c:pt>
                <c:pt idx="10">
                  <c:v>3.99966</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3.7832780000000001</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5.9378000000000153E-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8933527078776002</c:v>
                </c:pt>
                <c:pt idx="5">
                  <c:v>11.48740183013423</c:v>
                </c:pt>
                <c:pt idx="10">
                  <c:v>11.840344810644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Re-integratie klassiek</c:v>
                </c:pt>
                <c:pt idx="2">
                  <c:v>Huishoudens laag inkomen (drempel)</c:v>
                </c:pt>
                <c:pt idx="3">
                  <c:v>Inwoners</c:v>
                </c:pt>
                <c:pt idx="4">
                  <c:v>Klantenpotentieel regionaal</c:v>
                </c:pt>
                <c:pt idx="5">
                  <c:v>Eenpersoonshuishoudens</c:v>
                </c:pt>
                <c:pt idx="6">
                  <c:v>Omgevingsadressendichtheid</c:v>
                </c:pt>
                <c:pt idx="7">
                  <c:v>Loonkostensubsidie</c:v>
                </c:pt>
                <c:pt idx="10">
                  <c:v>Overig</c:v>
                </c:pt>
              </c:strCache>
            </c:strRef>
          </c:cat>
          <c:val>
            <c:numRef>
              <c:f>Sheet1!$B$2:$B$12</c:f>
              <c:numCache>
                <c:formatCode>General</c:formatCode>
                <c:ptCount val="11"/>
                <c:pt idx="0">
                  <c:v>3.4811520432000003</c:v>
                </c:pt>
                <c:pt idx="1">
                  <c:v>1.5536281077688803</c:v>
                </c:pt>
                <c:pt idx="2">
                  <c:v>1.2957179139840003</c:v>
                </c:pt>
                <c:pt idx="3">
                  <c:v>0.55119880087999995</c:v>
                </c:pt>
                <c:pt idx="4">
                  <c:v>0.30341934480000005</c:v>
                </c:pt>
                <c:pt idx="5">
                  <c:v>0.23772576672000001</c:v>
                </c:pt>
                <c:pt idx="6">
                  <c:v>0.22253126905152004</c:v>
                </c:pt>
                <c:pt idx="7">
                  <c:v>0.19531156424000001</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3.6448719999999999</c:v>
                </c:pt>
                <c:pt idx="1">
                  <c:v>0.29330099999999998</c:v>
                </c:pt>
                <c:pt idx="2">
                  <c:v>6.1487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437016401668</c:v>
                </c:pt>
                <c:pt idx="1">
                  <c:v>1.4064338532233334</c:v>
                </c:pt>
                <c:pt idx="2">
                  <c:v>1.54195416255088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5.1901000000000003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437016401668</c:v>
                </c:pt>
                <c:pt idx="1">
                  <c:v>1.4064338532233334</c:v>
                </c:pt>
                <c:pt idx="2">
                  <c:v>1.59385516255088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0.137299604512627</c:v>
                </c:pt>
                <c:pt idx="1">
                  <c:v>31.506840503222147</c:v>
                </c:pt>
                <c:pt idx="2">
                  <c:v>34.54275773540805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6268285579874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137299604512627</c:v>
                </c:pt>
                <c:pt idx="1">
                  <c:v>31.506840503222147</c:v>
                </c:pt>
                <c:pt idx="2">
                  <c:v>35.70544059120679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34.542757735408053</c:v>
                </c:pt>
                <c:pt idx="2">
                  <c:v>24.499614407231579</c:v>
                </c:pt>
                <c:pt idx="3">
                  <c:v>38.3732687066273</c:v>
                </c:pt>
                <c:pt idx="4">
                  <c:v>26.106741598927833</c:v>
                </c:pt>
                <c:pt idx="5">
                  <c:v>27.141804564933629</c:v>
                </c:pt>
                <c:pt idx="7">
                  <c:v>29.030357319430088</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1.162682855798741</c:v>
                </c:pt>
                <c:pt idx="2">
                  <c:v>1.1555267914927805</c:v>
                </c:pt>
                <c:pt idx="3">
                  <c:v>1.1670685808298213</c:v>
                </c:pt>
                <c:pt idx="4">
                  <c:v>1.1532117367168913</c:v>
                </c:pt>
                <c:pt idx="5">
                  <c:v>1.1667957769859012</c:v>
                </c:pt>
                <c:pt idx="7">
                  <c:v>1.1606507215063486</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35.705440591206795</c:v>
                </c:pt>
                <c:pt idx="2">
                  <c:v>25.655141198724365</c:v>
                </c:pt>
                <c:pt idx="3">
                  <c:v>39.54033728745712</c:v>
                </c:pt>
                <c:pt idx="4">
                  <c:v>27.259953335644727</c:v>
                </c:pt>
                <c:pt idx="5">
                  <c:v>28.308600341919529</c:v>
                </c:pt>
                <c:pt idx="7">
                  <c:v>30.191008040936435</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332110805912349</c:v>
                </c:pt>
                <c:pt idx="2">
                  <c:v>1.332110805912349</c:v>
                </c:pt>
                <c:pt idx="3">
                  <c:v>1.3751861124638241</c:v>
                </c:pt>
                <c:pt idx="4">
                  <c:v>1.4064338532233334</c:v>
                </c:pt>
                <c:pt idx="6">
                  <c:v>1.4064338532233334</c:v>
                </c:pt>
                <c:pt idx="7">
                  <c:v>1.4078418739234633</c:v>
                </c:pt>
                <c:pt idx="8">
                  <c:v>1.4716819555282357</c:v>
                </c:pt>
                <c:pt idx="9">
                  <c:v>1.541954162550880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3437016401668</c:v>
                </c:pt>
                <c:pt idx="5">
                  <c:v>1.4064338532233334</c:v>
                </c:pt>
                <c:pt idx="10">
                  <c:v>1.54195416255088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3075306551475144E-2</c:v>
                </c:pt>
                <c:pt idx="3">
                  <c:v>3.124774075950934E-2</c:v>
                </c:pt>
                <c:pt idx="6">
                  <c:v>1.4080207001300057E-3</c:v>
                </c:pt>
                <c:pt idx="7">
                  <c:v>6.3840081604772364E-2</c:v>
                </c:pt>
                <c:pt idx="8">
                  <c:v>7.0272207022644376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159083425445117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5.1901000000000003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5.1901000000000003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3437016401668</c:v>
                </c:pt>
                <c:pt idx="5">
                  <c:v>1.4064338532233334</c:v>
                </c:pt>
                <c:pt idx="10">
                  <c:v>1.593855162550880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inderheden</c:v>
                </c:pt>
                <c:pt idx="1">
                  <c:v>Jongeren</c:v>
                </c:pt>
                <c:pt idx="2">
                  <c:v>Inwoners</c:v>
                </c:pt>
                <c:pt idx="3">
                  <c:v>Huishoudens met laag inkomen (drempel)</c:v>
                </c:pt>
                <c:pt idx="4">
                  <c:v>Omgevingsadressendichtheid</c:v>
                </c:pt>
                <c:pt idx="5">
                  <c:v>Eenouderhuishoudens</c:v>
                </c:pt>
                <c:pt idx="6">
                  <c:v>Bijstandsontvangers</c:v>
                </c:pt>
                <c:pt idx="7">
                  <c:v>Huishoudens</c:v>
                </c:pt>
                <c:pt idx="8">
                  <c:v>Klantenpotentieel regionaal</c:v>
                </c:pt>
                <c:pt idx="9">
                  <c:v>Uitkeringsontvangers</c:v>
                </c:pt>
                <c:pt idx="10">
                  <c:v>Overig</c:v>
                </c:pt>
              </c:strCache>
            </c:strRef>
          </c:cat>
          <c:val>
            <c:numRef>
              <c:f>Sheet1!$B$2:$B$12</c:f>
              <c:numCache>
                <c:formatCode>General</c:formatCode>
                <c:ptCount val="11"/>
                <c:pt idx="0">
                  <c:v>0.25097961460000001</c:v>
                </c:pt>
                <c:pt idx="1">
                  <c:v>0.24530566475999999</c:v>
                </c:pt>
                <c:pt idx="2">
                  <c:v>0.21371546196000005</c:v>
                </c:pt>
                <c:pt idx="3">
                  <c:v>0.20959311370400002</c:v>
                </c:pt>
                <c:pt idx="4">
                  <c:v>0.15865655293488001</c:v>
                </c:pt>
                <c:pt idx="5">
                  <c:v>0.12900929496000002</c:v>
                </c:pt>
                <c:pt idx="6">
                  <c:v>9.5083658799999998E-2</c:v>
                </c:pt>
                <c:pt idx="7">
                  <c:v>5.9627880000000008E-2</c:v>
                </c:pt>
                <c:pt idx="8">
                  <c:v>4.5390696000000001E-2</c:v>
                </c:pt>
                <c:pt idx="9">
                  <c:v>3.8412718760000006E-2</c:v>
                </c:pt>
                <c:pt idx="10">
                  <c:v>9.6179506072000098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19.83057466219259</c:v>
                </c:pt>
                <c:pt idx="1">
                  <c:v>1470.8043326768518</c:v>
                </c:pt>
                <c:pt idx="2">
                  <c:v>1563.1206191974641</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87.41066702552359</c:v>
                </c:pt>
                <c:pt idx="1">
                  <c:v>144.91424539080188</c:v>
                </c:pt>
                <c:pt idx="2">
                  <c:v>133.49033356482013</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07.2412416877162</c:v>
                </c:pt>
                <c:pt idx="1">
                  <c:v>1615.7185780676537</c:v>
                </c:pt>
                <c:pt idx="2">
                  <c:v>1696.6109527622841</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5.1901000000000003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853692367504002</c:v>
                </c:pt>
                <c:pt idx="1">
                  <c:v>12.851487993182939</c:v>
                </c:pt>
                <c:pt idx="2">
                  <c:v>13.17866134818150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1.0187550000000001</c:v>
                </c:pt>
                <c:pt idx="2">
                  <c:v>1.237916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853692367504002</c:v>
                </c:pt>
                <c:pt idx="1">
                  <c:v>13.87024299318294</c:v>
                </c:pt>
                <c:pt idx="2">
                  <c:v>14.41657834818150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1.34785008111891</c:v>
                </c:pt>
                <c:pt idx="1">
                  <c:v>1463.5563139941851</c:v>
                </c:pt>
                <c:pt idx="2">
                  <c:v>1500.815550413564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116.01810727707552</c:v>
                </c:pt>
                <c:pt idx="2">
                  <c:v>140.9767680218653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1.34785008111891</c:v>
                </c:pt>
                <c:pt idx="1">
                  <c:v>1579.5744212712607</c:v>
                </c:pt>
                <c:pt idx="2">
                  <c:v>1641.792318435429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1500.8155504135641</c:v>
                </c:pt>
                <c:pt idx="2">
                  <c:v>1144.2908924549702</c:v>
                </c:pt>
                <c:pt idx="3">
                  <c:v>1622.4039159968499</c:v>
                </c:pt>
                <c:pt idx="4">
                  <c:v>1054.44093108227</c:v>
                </c:pt>
                <c:pt idx="5">
                  <c:v>1437.3136860304637</c:v>
                </c:pt>
                <c:pt idx="7">
                  <c:v>1314.6123563911385</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140.97676802186538</c:v>
                </c:pt>
                <c:pt idx="2">
                  <c:v>318.3421543867355</c:v>
                </c:pt>
                <c:pt idx="3">
                  <c:v>150.81747349597649</c:v>
                </c:pt>
                <c:pt idx="4">
                  <c:v>97.774166961026722</c:v>
                </c:pt>
                <c:pt idx="5">
                  <c:v>202.77146438270316</c:v>
                </c:pt>
                <c:pt idx="7">
                  <c:v>192.42631480661046</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1641.7923184354295</c:v>
                </c:pt>
                <c:pt idx="2">
                  <c:v>1462.6330468417057</c:v>
                </c:pt>
                <c:pt idx="3">
                  <c:v>1773.2213894928263</c:v>
                </c:pt>
                <c:pt idx="4">
                  <c:v>1152.2150980432968</c:v>
                </c:pt>
                <c:pt idx="5">
                  <c:v>1640.085150413167</c:v>
                </c:pt>
                <c:pt idx="7">
                  <c:v>1507.038671197749</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9711939871988453</c:v>
                </c:pt>
                <c:pt idx="2">
                  <c:v>1.9711939871988453</c:v>
                </c:pt>
                <c:pt idx="3">
                  <c:v>12.767633987645105</c:v>
                </c:pt>
                <c:pt idx="4">
                  <c:v>12.851487993182937</c:v>
                </c:pt>
                <c:pt idx="6">
                  <c:v>13.86701740750307</c:v>
                </c:pt>
                <c:pt idx="7">
                  <c:v>13.595825221068399</c:v>
                </c:pt>
                <c:pt idx="8">
                  <c:v>13.595825221068399</c:v>
                </c:pt>
                <c:pt idx="9">
                  <c:v>14.19741634818150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0853692367504002</c:v>
                </c:pt>
                <c:pt idx="5">
                  <c:v>12.851487993182939</c:v>
                </c:pt>
                <c:pt idx="10">
                  <c:v>13.17866134818150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0.79644000044626</c:v>
                </c:pt>
                <c:pt idx="3">
                  <c:v>8.3854005537832191E-2</c:v>
                </c:pt>
                <c:pt idx="8">
                  <c:v>0.6015911271131091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1417524955155489</c:v>
                </c:pt>
                <c:pt idx="6">
                  <c:v>3.2255856798697564E-3</c:v>
                </c:pt>
                <c:pt idx="7">
                  <c:v>0.2711921864346718</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1.0187550000000001</c:v>
                </c:pt>
                <c:pt idx="10">
                  <c:v>1.237916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0187550000000001</c:v>
                </c:pt>
                <c:pt idx="9">
                  <c:v>0.21916199999999986</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0853692367504002</c:v>
                </c:pt>
                <c:pt idx="5">
                  <c:v>13.87024299318294</c:v>
                </c:pt>
                <c:pt idx="10">
                  <c:v>14.41657834818150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Uitkeringsont. min. bijstandsont.</c:v>
                </c:pt>
                <c:pt idx="2">
                  <c:v>Gem. Gestand. inkomen (huishoudens)</c:v>
                </c:pt>
                <c:pt idx="3">
                  <c:v>Ouders lang psychisch medicijngebruik</c:v>
                </c:pt>
                <c:pt idx="4">
                  <c:v>Gem. gestand. inkomen (huish. kinderen)</c:v>
                </c:pt>
                <c:pt idx="5">
                  <c:v>Eenouderhuishoudens</c:v>
                </c:pt>
                <c:pt idx="6">
                  <c:v>Eenouderhuishoudens 2 of meer kinderen</c:v>
                </c:pt>
                <c:pt idx="7">
                  <c:v>Bijstandsont. eenouderhuishoudens</c:v>
                </c:pt>
                <c:pt idx="8">
                  <c:v>BO leerlingen, leerlingengewicht 1,2</c:v>
                </c:pt>
                <c:pt idx="9">
                  <c:v>BO leerlingen, leerlingengewicht 0,3</c:v>
                </c:pt>
                <c:pt idx="10">
                  <c:v>Overig</c:v>
                </c:pt>
              </c:strCache>
            </c:strRef>
          </c:cat>
          <c:val>
            <c:numRef>
              <c:f>Sheet1!$B$2:$B$12</c:f>
              <c:numCache>
                <c:formatCode>General</c:formatCode>
                <c:ptCount val="11"/>
                <c:pt idx="0">
                  <c:v>7.2194603691600001</c:v>
                </c:pt>
                <c:pt idx="1">
                  <c:v>2.8696433251200002</c:v>
                </c:pt>
                <c:pt idx="2">
                  <c:v>-2.6422051470256003</c:v>
                </c:pt>
                <c:pt idx="3">
                  <c:v>2.5750694780257208</c:v>
                </c:pt>
                <c:pt idx="4">
                  <c:v>-2.2958121912544001</c:v>
                </c:pt>
                <c:pt idx="5">
                  <c:v>2.0474275239600002</c:v>
                </c:pt>
                <c:pt idx="6">
                  <c:v>1.4242005169599998</c:v>
                </c:pt>
                <c:pt idx="7">
                  <c:v>1.1079682224</c:v>
                </c:pt>
                <c:pt idx="8">
                  <c:v>-0.64001901756000001</c:v>
                </c:pt>
                <c:pt idx="9">
                  <c:v>-0.5616040029599999</c:v>
                </c:pt>
                <c:pt idx="10">
                  <c:v>2.074532271355787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1.273801</c:v>
                </c:pt>
                <c:pt idx="1">
                  <c:v>0</c:v>
                </c:pt>
                <c:pt idx="6">
                  <c:v>-3.588399999999999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5726707605212003</c:v>
                </c:pt>
                <c:pt idx="1">
                  <c:v>17.515642049588902</c:v>
                </c:pt>
                <c:pt idx="2">
                  <c:v>18.8789872259404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0736090000000003</c:v>
                </c:pt>
                <c:pt idx="1">
                  <c:v>0</c:v>
                </c:pt>
                <c:pt idx="2">
                  <c:v>3.3180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6462797605212</c:v>
                </c:pt>
                <c:pt idx="1">
                  <c:v>17.515642049588902</c:v>
                </c:pt>
                <c:pt idx="2">
                  <c:v>18.91216722594040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7.41557351009735</c:v>
                </c:pt>
                <c:pt idx="1">
                  <c:v>392.38428391292143</c:v>
                </c:pt>
                <c:pt idx="2">
                  <c:v>422.9258546549073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1.365204324227349</c:v>
                </c:pt>
                <c:pt idx="1">
                  <c:v>0</c:v>
                </c:pt>
                <c:pt idx="2">
                  <c:v>0.7432962207934765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8.78077783432465</c:v>
                </c:pt>
                <c:pt idx="1">
                  <c:v>392.38428391292143</c:v>
                </c:pt>
                <c:pt idx="2">
                  <c:v>423.6691508757007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422.92585465490731</c:v>
                </c:pt>
                <c:pt idx="2">
                  <c:v>354.63446137474563</c:v>
                </c:pt>
                <c:pt idx="3">
                  <c:v>463.27075297063084</c:v>
                </c:pt>
                <c:pt idx="4">
                  <c:v>361.27125720050924</c:v>
                </c:pt>
                <c:pt idx="5">
                  <c:v>431.63703163759067</c:v>
                </c:pt>
                <c:pt idx="7">
                  <c:v>402.70337579586908</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0.74329622079347657</c:v>
                </c:pt>
                <c:pt idx="2">
                  <c:v>0.42312928206387107</c:v>
                </c:pt>
                <c:pt idx="3">
                  <c:v>1339.0602871244732</c:v>
                </c:pt>
                <c:pt idx="4">
                  <c:v>0.91288093349949018</c:v>
                </c:pt>
                <c:pt idx="5">
                  <c:v>0.31473406963103961</c:v>
                </c:pt>
                <c:pt idx="7">
                  <c:v>335.1777578524169</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423.66915087570078</c:v>
                </c:pt>
                <c:pt idx="2">
                  <c:v>355.05759065680951</c:v>
                </c:pt>
                <c:pt idx="3">
                  <c:v>1802.3310400951038</c:v>
                </c:pt>
                <c:pt idx="4">
                  <c:v>362.18413813400872</c:v>
                </c:pt>
                <c:pt idx="5">
                  <c:v>431.9517657072218</c:v>
                </c:pt>
                <c:pt idx="7">
                  <c:v>737.88113364828598</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88303375956426089</c:v>
                </c:pt>
                <c:pt idx="1">
                  <c:v>0.90356602591394719</c:v>
                </c:pt>
                <c:pt idx="2">
                  <c:v>0.9091355106828608</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88303375956426089</c:v>
                </c:pt>
                <c:pt idx="1">
                  <c:v>0.90356602591394719</c:v>
                </c:pt>
                <c:pt idx="2">
                  <c:v>0.9091355106828608</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0.6462797605212</c:v>
                </c:pt>
                <c:pt idx="2">
                  <c:v>10.934464970445614</c:v>
                </c:pt>
                <c:pt idx="3">
                  <c:v>20.537684895718535</c:v>
                </c:pt>
                <c:pt idx="4">
                  <c:v>17.515642049588905</c:v>
                </c:pt>
                <c:pt idx="6">
                  <c:v>17.515642049588905</c:v>
                </c:pt>
                <c:pt idx="7">
                  <c:v>17.978410839551572</c:v>
                </c:pt>
                <c:pt idx="8">
                  <c:v>18.008642030277709</c:v>
                </c:pt>
                <c:pt idx="9">
                  <c:v>18.87898722594040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6.5726707605212003</c:v>
                </c:pt>
                <c:pt idx="5">
                  <c:v>17.515642049588905</c:v>
                </c:pt>
                <c:pt idx="10">
                  <c:v>18.8789872259404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28818520992441354</c:v>
                </c:pt>
                <c:pt idx="2">
                  <c:v>9.6032199252729189</c:v>
                </c:pt>
                <c:pt idx="3">
                  <c:v>1.0515661538703707</c:v>
                </c:pt>
                <c:pt idx="6">
                  <c:v>0.46276878996266807</c:v>
                </c:pt>
                <c:pt idx="7">
                  <c:v>3.0231190726139088E-2</c:v>
                </c:pt>
                <c:pt idx="8">
                  <c:v>0.8703451956626976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4.0736090000000003</c:v>
                </c:pt>
                <c:pt idx="5">
                  <c:v>0</c:v>
                </c:pt>
                <c:pt idx="10">
                  <c:v>3.3180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3.3180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4.0736090000000003</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0.6462797605212</c:v>
                </c:pt>
                <c:pt idx="5">
                  <c:v>17.515642049588905</c:v>
                </c:pt>
                <c:pt idx="10">
                  <c:v>18.91216722594041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Huishoudens met laag inkomen (drempel)</c:v>
                </c:pt>
                <c:pt idx="2">
                  <c:v>Inwoners</c:v>
                </c:pt>
                <c:pt idx="3">
                  <c:v>Ouderen</c:v>
                </c:pt>
                <c:pt idx="4">
                  <c:v>Gem. gestandaardiseerd inkomen 75 t/m 84</c:v>
                </c:pt>
                <c:pt idx="5">
                  <c:v>Wajong</c:v>
                </c:pt>
                <c:pt idx="6">
                  <c:v>Uitkeringsont. min bijstandsont.</c:v>
                </c:pt>
                <c:pt idx="7">
                  <c:v>Klantenpotentieel lokaal</c:v>
                </c:pt>
                <c:pt idx="8">
                  <c:v>Huishoudens</c:v>
                </c:pt>
                <c:pt idx="9">
                  <c:v>Gem. gestandaardiseerd inkomen 85+</c:v>
                </c:pt>
                <c:pt idx="10">
                  <c:v>Overig</c:v>
                </c:pt>
              </c:strCache>
            </c:strRef>
          </c:cat>
          <c:val>
            <c:numRef>
              <c:f>Sheet1!$B$2:$B$12</c:f>
              <c:numCache>
                <c:formatCode>General</c:formatCode>
                <c:ptCount val="11"/>
                <c:pt idx="0">
                  <c:v>5.0115895381152535</c:v>
                </c:pt>
                <c:pt idx="1">
                  <c:v>2.518791957136</c:v>
                </c:pt>
                <c:pt idx="2">
                  <c:v>2.4429764086000003</c:v>
                </c:pt>
                <c:pt idx="3">
                  <c:v>1.5912807544400001</c:v>
                </c:pt>
                <c:pt idx="4">
                  <c:v>0.79692562707357595</c:v>
                </c:pt>
                <c:pt idx="5">
                  <c:v>0.6444776644800001</c:v>
                </c:pt>
                <c:pt idx="6">
                  <c:v>0.64385459424000002</c:v>
                </c:pt>
                <c:pt idx="7">
                  <c:v>0.58985014400000002</c:v>
                </c:pt>
                <c:pt idx="8">
                  <c:v>0.58137183000000003</c:v>
                </c:pt>
                <c:pt idx="9">
                  <c:v>0.56972651284130393</c:v>
                </c:pt>
                <c:pt idx="10">
                  <c:v>3.48814219501427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3.3180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9720560549355994</c:v>
                </c:pt>
                <c:pt idx="1">
                  <c:v>5.1418674646527984</c:v>
                </c:pt>
                <c:pt idx="2">
                  <c:v>5.33285862397808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9603999999999999E-2</c:v>
                </c:pt>
                <c:pt idx="1">
                  <c:v>6.9603999999999999E-2</c:v>
                </c:pt>
                <c:pt idx="2">
                  <c:v>6.9603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0416600549355994</c:v>
                </c:pt>
                <c:pt idx="1">
                  <c:v>5.2114714646527984</c:v>
                </c:pt>
                <c:pt idx="2">
                  <c:v>5.402462623978080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03.90757625778855</c:v>
                </c:pt>
                <c:pt idx="1">
                  <c:v>585.56741426406995</c:v>
                </c:pt>
                <c:pt idx="2">
                  <c:v>607.3179164079352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0542211411776625</c:v>
                </c:pt>
                <c:pt idx="1">
                  <c:v>7.9266598337319216</c:v>
                </c:pt>
                <c:pt idx="2">
                  <c:v>7.926659833731921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10.96179739896621</c:v>
                </c:pt>
                <c:pt idx="1">
                  <c:v>593.4940740978019</c:v>
                </c:pt>
                <c:pt idx="2">
                  <c:v>615.2445762416672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607.31791640793529</c:v>
                </c:pt>
                <c:pt idx="2">
                  <c:v>399.10978091861648</c:v>
                </c:pt>
                <c:pt idx="3">
                  <c:v>517.56347728038838</c:v>
                </c:pt>
                <c:pt idx="4">
                  <c:v>443.34265252543037</c:v>
                </c:pt>
                <c:pt idx="5">
                  <c:v>584.26060464917487</c:v>
                </c:pt>
                <c:pt idx="7">
                  <c:v>486.06912884340255</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7.9266598337319216</c:v>
                </c:pt>
                <c:pt idx="2">
                  <c:v>9.0180081256176567</c:v>
                </c:pt>
                <c:pt idx="3">
                  <c:v>10.591518712479244</c:v>
                </c:pt>
                <c:pt idx="4">
                  <c:v>7.483456964559049</c:v>
                </c:pt>
                <c:pt idx="5">
                  <c:v>11.731251305619386</c:v>
                </c:pt>
                <c:pt idx="7">
                  <c:v>9.7060587770688347</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615.24457624166723</c:v>
                </c:pt>
                <c:pt idx="2">
                  <c:v>408.12778904423413</c:v>
                </c:pt>
                <c:pt idx="3">
                  <c:v>528.15499599286761</c:v>
                </c:pt>
                <c:pt idx="4">
                  <c:v>450.82610948998945</c:v>
                </c:pt>
                <c:pt idx="5">
                  <c:v>595.99185595479423</c:v>
                </c:pt>
                <c:pt idx="7">
                  <c:v>495.77518762047134</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8287702782799506</c:v>
                </c:pt>
                <c:pt idx="2">
                  <c:v>4.8287702782799506</c:v>
                </c:pt>
                <c:pt idx="3">
                  <c:v>5.0798506531749794</c:v>
                </c:pt>
                <c:pt idx="4">
                  <c:v>5.2114714646527984</c:v>
                </c:pt>
                <c:pt idx="6">
                  <c:v>5.1551675118449269</c:v>
                </c:pt>
                <c:pt idx="7">
                  <c:v>5.1551675118449269</c:v>
                </c:pt>
                <c:pt idx="8">
                  <c:v>5.1551675118449269</c:v>
                </c:pt>
                <c:pt idx="9">
                  <c:v>5.402462623978080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9720560549355994</c:v>
                </c:pt>
                <c:pt idx="5">
                  <c:v>5.1418674646527984</c:v>
                </c:pt>
                <c:pt idx="10">
                  <c:v>5.332858623978080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25108037489502888</c:v>
                </c:pt>
                <c:pt idx="3">
                  <c:v>0.13162081147781915</c:v>
                </c:pt>
                <c:pt idx="8">
                  <c:v>0.2472951121331534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21288977665564907</c:v>
                </c:pt>
                <c:pt idx="6">
                  <c:v>5.6303952807871267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6.9603999999999999E-2</c:v>
                </c:pt>
                <c:pt idx="5">
                  <c:v>6.9603999999999999E-2</c:v>
                </c:pt>
                <c:pt idx="10">
                  <c:v>6.9603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0416600549355994</c:v>
                </c:pt>
                <c:pt idx="5">
                  <c:v>5.2114714646527984</c:v>
                </c:pt>
                <c:pt idx="10">
                  <c:v>5.402462623978080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O</c:v>
                </c:pt>
                <c:pt idx="2">
                  <c:v>Minderheden</c:v>
                </c:pt>
                <c:pt idx="3">
                  <c:v>Huishoudens laag inkomen (drempel)</c:v>
                </c:pt>
                <c:pt idx="4">
                  <c:v>Omgevingsadressendichtheid</c:v>
                </c:pt>
                <c:pt idx="5">
                  <c:v>Leerlingen (V)SO</c:v>
                </c:pt>
                <c:pt idx="6">
                  <c:v>Inwoners</c:v>
                </c:pt>
                <c:pt idx="7">
                  <c:v>Land</c:v>
                </c:pt>
                <c:pt idx="8">
                  <c:v>Kernen</c:v>
                </c:pt>
                <c:pt idx="9">
                  <c:v>Binnenwater</c:v>
                </c:pt>
                <c:pt idx="10">
                  <c:v>Overig</c:v>
                </c:pt>
              </c:strCache>
            </c:strRef>
          </c:cat>
          <c:val>
            <c:numRef>
              <c:f>Sheet1!$B$2:$B$12</c:f>
              <c:numCache>
                <c:formatCode>General</c:formatCode>
                <c:ptCount val="11"/>
                <c:pt idx="0">
                  <c:v>2.5846978871999999</c:v>
                </c:pt>
                <c:pt idx="1">
                  <c:v>1.5828630097280001</c:v>
                </c:pt>
                <c:pt idx="2">
                  <c:v>0.34800299300000004</c:v>
                </c:pt>
                <c:pt idx="3">
                  <c:v>0.29474473272400004</c:v>
                </c:pt>
                <c:pt idx="4">
                  <c:v>0.19643192268128001</c:v>
                </c:pt>
                <c:pt idx="5">
                  <c:v>0.19593410316480001</c:v>
                </c:pt>
                <c:pt idx="6">
                  <c:v>7.4836390720000007E-2</c:v>
                </c:pt>
                <c:pt idx="7">
                  <c:v>2.808187824E-2</c:v>
                </c:pt>
                <c:pt idx="8">
                  <c:v>2.1385710839999999E-2</c:v>
                </c:pt>
                <c:pt idx="9">
                  <c:v>3.4358812800000006E-3</c:v>
                </c:pt>
                <c:pt idx="10">
                  <c:v>2.4441144000011406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6.9603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34609237156560008</c:v>
                </c:pt>
                <c:pt idx="1">
                  <c:v>0.44160355564466663</c:v>
                </c:pt>
                <c:pt idx="2">
                  <c:v>0.4635132842828798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5955999999999997E-2</c:v>
                </c:pt>
                <c:pt idx="1">
                  <c:v>5.2815000000000001E-2</c:v>
                </c:pt>
                <c:pt idx="2">
                  <c:v>5.2815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39204837156560007</c:v>
                </c:pt>
                <c:pt idx="1">
                  <c:v>0.49441855564466664</c:v>
                </c:pt>
                <c:pt idx="2">
                  <c:v>0.516328284282879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6396375238000003</c:v>
                </c:pt>
                <c:pt idx="1">
                  <c:v>-5.7770229726000002</c:v>
                </c:pt>
                <c:pt idx="2">
                  <c:v>-5.436688356639999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6396375238000003</c:v>
                </c:pt>
                <c:pt idx="1">
                  <c:v>-5.7770229726000002</c:v>
                </c:pt>
                <c:pt idx="2">
                  <c:v>-5.436688356639999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7623552587269566</c:v>
                </c:pt>
                <c:pt idx="1">
                  <c:v>9.8927743821471505</c:v>
                </c:pt>
                <c:pt idx="2">
                  <c:v>10.38359471051949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307271340779618</c:v>
                </c:pt>
                <c:pt idx="1">
                  <c:v>1.1831582248706287</c:v>
                </c:pt>
                <c:pt idx="2">
                  <c:v>1.183158224870628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7930823928049193</c:v>
                </c:pt>
                <c:pt idx="1">
                  <c:v>11.07593260701778</c:v>
                </c:pt>
                <c:pt idx="2">
                  <c:v>11.56675293539012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10.383594710519498</c:v>
                </c:pt>
                <c:pt idx="2">
                  <c:v>8.0155923020964543</c:v>
                </c:pt>
                <c:pt idx="3">
                  <c:v>11.100725742619279</c:v>
                </c:pt>
                <c:pt idx="4">
                  <c:v>8.2937146389867458</c:v>
                </c:pt>
                <c:pt idx="5">
                  <c:v>8.7410109743240145</c:v>
                </c:pt>
                <c:pt idx="7">
                  <c:v>9.0377609145066238</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1.1831582248706287</c:v>
                </c:pt>
                <c:pt idx="2">
                  <c:v>0</c:v>
                </c:pt>
                <c:pt idx="3">
                  <c:v>0.98771720267742447</c:v>
                </c:pt>
                <c:pt idx="4">
                  <c:v>0</c:v>
                </c:pt>
                <c:pt idx="5">
                  <c:v>2.8602509904605919</c:v>
                </c:pt>
                <c:pt idx="7">
                  <c:v>0.96199204828450413</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11.566752935390126</c:v>
                </c:pt>
                <c:pt idx="2">
                  <c:v>8.0155923020964543</c:v>
                </c:pt>
                <c:pt idx="3">
                  <c:v>12.088442945296702</c:v>
                </c:pt>
                <c:pt idx="4">
                  <c:v>8.2937146389867458</c:v>
                </c:pt>
                <c:pt idx="5">
                  <c:v>11.601261964784607</c:v>
                </c:pt>
                <c:pt idx="7">
                  <c:v>9.9997529627911277</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38924457620695102</c:v>
                </c:pt>
                <c:pt idx="2">
                  <c:v>0.38924457620695102</c:v>
                </c:pt>
                <c:pt idx="3">
                  <c:v>0.47747957397906632</c:v>
                </c:pt>
                <c:pt idx="4">
                  <c:v>0.48755955564466663</c:v>
                </c:pt>
                <c:pt idx="6">
                  <c:v>0.49441855564466658</c:v>
                </c:pt>
                <c:pt idx="7">
                  <c:v>0.49476310410580321</c:v>
                </c:pt>
                <c:pt idx="8">
                  <c:v>0.49476310410580321</c:v>
                </c:pt>
                <c:pt idx="9">
                  <c:v>0.516328284282879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34609237156560008</c:v>
                </c:pt>
                <c:pt idx="5">
                  <c:v>0.44160355564466658</c:v>
                </c:pt>
                <c:pt idx="10">
                  <c:v>0.463513284282879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8.8234997772115298E-2</c:v>
                </c:pt>
                <c:pt idx="3">
                  <c:v>1.0079981665600292E-2</c:v>
                </c:pt>
                <c:pt idx="6">
                  <c:v>3.4454846113660923E-4</c:v>
                </c:pt>
                <c:pt idx="8">
                  <c:v>2.156518017707661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8037953586490523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4.5955999999999997E-2</c:v>
                </c:pt>
                <c:pt idx="5">
                  <c:v>5.2815000000000001E-2</c:v>
                </c:pt>
                <c:pt idx="10">
                  <c:v>5.2815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6.859000000000004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39204837156560007</c:v>
                </c:pt>
                <c:pt idx="5">
                  <c:v>0.49441855564466658</c:v>
                </c:pt>
                <c:pt idx="10">
                  <c:v>0.516328284282879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Minderheden</c:v>
                </c:pt>
                <c:pt idx="2">
                  <c:v>Inwoners</c:v>
                </c:pt>
                <c:pt idx="3">
                  <c:v>Huishoudens laag inkomen (drempel)</c:v>
                </c:pt>
                <c:pt idx="4">
                  <c:v>Omgevingsadressendichtheid</c:v>
                </c:pt>
                <c:pt idx="5">
                  <c:v>Eenouderhuishoudens</c:v>
                </c:pt>
                <c:pt idx="6">
                  <c:v>Bijstandsontvangers</c:v>
                </c:pt>
                <c:pt idx="7">
                  <c:v>Huishoudens</c:v>
                </c:pt>
                <c:pt idx="8">
                  <c:v>Klantenpotentieel regionaal</c:v>
                </c:pt>
                <c:pt idx="9">
                  <c:v>Uitkeringsontvangers</c:v>
                </c:pt>
                <c:pt idx="10">
                  <c:v>Overig</c:v>
                </c:pt>
              </c:strCache>
            </c:strRef>
          </c:cat>
          <c:val>
            <c:numRef>
              <c:f>Sheet1!$B$2:$B$12</c:f>
              <c:numCache>
                <c:formatCode>General</c:formatCode>
                <c:ptCount val="11"/>
                <c:pt idx="0">
                  <c:v>0.14508846300000003</c:v>
                </c:pt>
                <c:pt idx="1">
                  <c:v>6.1035478400000009E-2</c:v>
                </c:pt>
                <c:pt idx="2">
                  <c:v>5.5407712360000007E-2</c:v>
                </c:pt>
                <c:pt idx="3">
                  <c:v>5.1020306168000004E-2</c:v>
                </c:pt>
                <c:pt idx="4">
                  <c:v>3.8462194650880008E-2</c:v>
                </c:pt>
                <c:pt idx="5">
                  <c:v>3.142379604E-2</c:v>
                </c:pt>
                <c:pt idx="6">
                  <c:v>2.2639814600000002E-2</c:v>
                </c:pt>
                <c:pt idx="7">
                  <c:v>1.4575704000000002E-2</c:v>
                </c:pt>
                <c:pt idx="8">
                  <c:v>1.0823935200000002E-2</c:v>
                </c:pt>
                <c:pt idx="9">
                  <c:v>9.309074320000001E-3</c:v>
                </c:pt>
                <c:pt idx="10">
                  <c:v>2.372680554399975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Gezond in de stad</c:v>
                </c:pt>
                <c:pt idx="1">
                  <c:v>Gezondsheidsachterstanden</c:v>
                </c:pt>
              </c:strCache>
            </c:strRef>
          </c:cat>
          <c:val>
            <c:numRef>
              <c:f>Sheet1!$B$2:$B$12</c:f>
              <c:numCache>
                <c:formatCode>General</c:formatCode>
                <c:ptCount val="11"/>
                <c:pt idx="0">
                  <c:v>5.2815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0417080699000003</c:v>
                </c:pt>
                <c:pt idx="1">
                  <c:v>8.3060895423299996</c:v>
                </c:pt>
                <c:pt idx="2">
                  <c:v>8.70496134507999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6677600000000001</c:v>
                </c:pt>
                <c:pt idx="1">
                  <c:v>0.20920800000000001</c:v>
                </c:pt>
                <c:pt idx="2">
                  <c:v>0.2105219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2084840699000008</c:v>
                </c:pt>
                <c:pt idx="1">
                  <c:v>8.5152975423299999</c:v>
                </c:pt>
                <c:pt idx="2">
                  <c:v>8.915483345079998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195.00798281950759</c:v>
                </c:pt>
                <c:pt idx="2">
                  <c:v>188.84715121783572</c:v>
                </c:pt>
                <c:pt idx="3">
                  <c:v>243.91271544296953</c:v>
                </c:pt>
                <c:pt idx="4">
                  <c:v>199.6471178556701</c:v>
                </c:pt>
                <c:pt idx="5">
                  <c:v>194.95357990925396</c:v>
                </c:pt>
                <c:pt idx="7">
                  <c:v>206.84014110643233</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4.7161002710634197</c:v>
                </c:pt>
                <c:pt idx="2">
                  <c:v>7.0250619295230869</c:v>
                </c:pt>
                <c:pt idx="3">
                  <c:v>4.4889454824096822</c:v>
                </c:pt>
                <c:pt idx="4">
                  <c:v>4.6546505041350406</c:v>
                </c:pt>
                <c:pt idx="5">
                  <c:v>6.6975941214227221</c:v>
                </c:pt>
                <c:pt idx="7">
                  <c:v>5.7165630093726332</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199.72408309057096</c:v>
                </c:pt>
                <c:pt idx="2">
                  <c:v>195.87221314735882</c:v>
                </c:pt>
                <c:pt idx="3">
                  <c:v>248.40166092537916</c:v>
                </c:pt>
                <c:pt idx="4">
                  <c:v>204.30176835980515</c:v>
                </c:pt>
                <c:pt idx="5">
                  <c:v>201.65117403067669</c:v>
                </c:pt>
                <c:pt idx="7">
                  <c:v>212.55670411580493</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8.2084840699000008</c:v>
                </c:pt>
                <c:pt idx="2">
                  <c:v>8.2188861078361892</c:v>
                </c:pt>
                <c:pt idx="3">
                  <c:v>8.2188861078361892</c:v>
                </c:pt>
                <c:pt idx="4">
                  <c:v>8.4728655423300001</c:v>
                </c:pt>
                <c:pt idx="6">
                  <c:v>8.5091664404399836</c:v>
                </c:pt>
                <c:pt idx="7">
                  <c:v>8.5091664404399836</c:v>
                </c:pt>
                <c:pt idx="8">
                  <c:v>8.5091664404399836</c:v>
                </c:pt>
                <c:pt idx="9">
                  <c:v>8.914169345079999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8.0417080699000003</c:v>
                </c:pt>
                <c:pt idx="5">
                  <c:v>8.3060895423299996</c:v>
                </c:pt>
                <c:pt idx="10">
                  <c:v>8.704961345079999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0402037936188465E-2</c:v>
                </c:pt>
                <c:pt idx="3">
                  <c:v>0.25397943449381088</c:v>
                </c:pt>
                <c:pt idx="8">
                  <c:v>0.4050029046400153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6.1311018900157216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6677600000000001</c:v>
                </c:pt>
                <c:pt idx="5">
                  <c:v>0.20920800000000001</c:v>
                </c:pt>
                <c:pt idx="10">
                  <c:v>0.2105219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4.2431999999999997E-2</c:v>
                </c:pt>
                <c:pt idx="9">
                  <c:v>1.3139999999999818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8.2084840699000008</c:v>
                </c:pt>
                <c:pt idx="5">
                  <c:v>8.5152975423299999</c:v>
                </c:pt>
                <c:pt idx="10">
                  <c:v>8.915483345079998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Klantenpotentieel regionaal</c:v>
                </c:pt>
                <c:pt idx="4">
                  <c:v>Opp. historische kernen &lt;40 ha</c:v>
                </c:pt>
                <c:pt idx="10">
                  <c:v>Overig</c:v>
                </c:pt>
              </c:strCache>
            </c:strRef>
          </c:cat>
          <c:val>
            <c:numRef>
              <c:f>Sheet1!$B$2:$B$12</c:f>
              <c:numCache>
                <c:formatCode>General</c:formatCode>
                <c:ptCount val="11"/>
                <c:pt idx="0">
                  <c:v>3.7281475030800006</c:v>
                </c:pt>
                <c:pt idx="1">
                  <c:v>2.3456945460000003</c:v>
                </c:pt>
                <c:pt idx="2">
                  <c:v>2.3238592000000002</c:v>
                </c:pt>
                <c:pt idx="3">
                  <c:v>0.30726009600000009</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6.48897689409233</c:v>
                </c:pt>
                <c:pt idx="1">
                  <c:v>-129.41649617150921</c:v>
                </c:pt>
                <c:pt idx="2">
                  <c:v>-121.7923420470888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6.48897689409233</c:v>
                </c:pt>
                <c:pt idx="1">
                  <c:v>-129.41649617150921</c:v>
                </c:pt>
                <c:pt idx="2">
                  <c:v>-121.7923420470888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0.21052199999999999</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40780324552129</c:v>
                </c:pt>
                <c:pt idx="1">
                  <c:v>10.791100540758388</c:v>
                </c:pt>
                <c:pt idx="2">
                  <c:v>11.33818224645904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20139000000000001</c:v>
                </c:pt>
                <c:pt idx="1">
                  <c:v>0.19949</c:v>
                </c:pt>
                <c:pt idx="2">
                  <c:v>0.1974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60919324552129</c:v>
                </c:pt>
                <c:pt idx="1">
                  <c:v>10.990590540758388</c:v>
                </c:pt>
                <c:pt idx="2">
                  <c:v>11.53567224645904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33.43209181180842</c:v>
                </c:pt>
                <c:pt idx="1">
                  <c:v>241.74153858192136</c:v>
                </c:pt>
                <c:pt idx="2">
                  <c:v>253.9972276811542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5168887094603685</c:v>
                </c:pt>
                <c:pt idx="1">
                  <c:v>4.4689621183270232</c:v>
                </c:pt>
                <c:pt idx="2">
                  <c:v>4.424158247272564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7.94898052126879</c:v>
                </c:pt>
                <c:pt idx="1">
                  <c:v>246.21050070024839</c:v>
                </c:pt>
                <c:pt idx="2">
                  <c:v>258.4213859284267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253.99722768115421</c:v>
                </c:pt>
                <c:pt idx="2">
                  <c:v>283.57364527894185</c:v>
                </c:pt>
                <c:pt idx="3">
                  <c:v>274.64766776896772</c:v>
                </c:pt>
                <c:pt idx="4">
                  <c:v>233.73832741135436</c:v>
                </c:pt>
                <c:pt idx="5">
                  <c:v>332.30890722453091</c:v>
                </c:pt>
                <c:pt idx="7">
                  <c:v>281.06713692094871</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4.4241582472725645</c:v>
                </c:pt>
                <c:pt idx="2">
                  <c:v>4.3634091365573884</c:v>
                </c:pt>
                <c:pt idx="3">
                  <c:v>6.9503729913682362</c:v>
                </c:pt>
                <c:pt idx="4">
                  <c:v>1.8515917072618104</c:v>
                </c:pt>
                <c:pt idx="5">
                  <c:v>1.1627454018282022</c:v>
                </c:pt>
                <c:pt idx="7">
                  <c:v>3.5820298092539091</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258.42138592842679</c:v>
                </c:pt>
                <c:pt idx="2">
                  <c:v>287.93705441549923</c:v>
                </c:pt>
                <c:pt idx="3">
                  <c:v>281.59804076033589</c:v>
                </c:pt>
                <c:pt idx="4">
                  <c:v>235.58991911861617</c:v>
                </c:pt>
                <c:pt idx="5">
                  <c:v>333.47165262635912</c:v>
                </c:pt>
                <c:pt idx="7">
                  <c:v>284.64916673020258</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0.60919324552129</c:v>
                </c:pt>
                <c:pt idx="2">
                  <c:v>10.66298072680925</c:v>
                </c:pt>
                <c:pt idx="3">
                  <c:v>10.66298072680925</c:v>
                </c:pt>
                <c:pt idx="4">
                  <c:v>10.990590540758387</c:v>
                </c:pt>
                <c:pt idx="6">
                  <c:v>10.990590540758388</c:v>
                </c:pt>
                <c:pt idx="7">
                  <c:v>11.010416466621232</c:v>
                </c:pt>
                <c:pt idx="8">
                  <c:v>11.010416466621232</c:v>
                </c:pt>
                <c:pt idx="9">
                  <c:v>11.53567224645904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0.40780324552129</c:v>
                </c:pt>
                <c:pt idx="5">
                  <c:v>10.791100540758388</c:v>
                </c:pt>
                <c:pt idx="10">
                  <c:v>11.33818224645904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5.8226531316005775E-2</c:v>
                </c:pt>
                <c:pt idx="3">
                  <c:v>0.32950981394913659</c:v>
                </c:pt>
                <c:pt idx="6">
                  <c:v>5.5591626194305799E-2</c:v>
                </c:pt>
                <c:pt idx="8">
                  <c:v>0.5272557798378114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4.4390500280447193E-3</c:v>
                </c:pt>
                <c:pt idx="7">
                  <c:v>3.5765700331461626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20139000000000001</c:v>
                </c:pt>
                <c:pt idx="5">
                  <c:v>0.19949</c:v>
                </c:pt>
                <c:pt idx="10">
                  <c:v>0.1974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9000000000000128E-3</c:v>
                </c:pt>
                <c:pt idx="9">
                  <c:v>2.0000000000000018E-3</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0.60919324552129</c:v>
                </c:pt>
                <c:pt idx="5">
                  <c:v>10.990590540758388</c:v>
                </c:pt>
                <c:pt idx="10">
                  <c:v>11.53567224645904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mgevingsadressendichtheid</c:v>
                </c:pt>
                <c:pt idx="1">
                  <c:v>Woonruimten</c:v>
                </c:pt>
                <c:pt idx="2">
                  <c:v>Woonruimten * bodemfactor kern</c:v>
                </c:pt>
                <c:pt idx="3">
                  <c:v>Opp. bebouwing kern *bodemfactor kern</c:v>
                </c:pt>
                <c:pt idx="4">
                  <c:v>Inwoners</c:v>
                </c:pt>
                <c:pt idx="5">
                  <c:v>Oppervlak bebouwing woonkernen</c:v>
                </c:pt>
                <c:pt idx="6">
                  <c:v>Bedrijfsvestigingen</c:v>
                </c:pt>
                <c:pt idx="7">
                  <c:v>Oeverlengte*dichtheid *bodemf. Gem.</c:v>
                </c:pt>
                <c:pt idx="8">
                  <c:v>Opp. bebouwing totaal</c:v>
                </c:pt>
                <c:pt idx="9">
                  <c:v>Huishoudens met laag inkomen</c:v>
                </c:pt>
                <c:pt idx="10">
                  <c:v>Overig</c:v>
                </c:pt>
              </c:strCache>
            </c:strRef>
          </c:cat>
          <c:val>
            <c:numRef>
              <c:f>Sheet1!$B$2:$B$12</c:f>
              <c:numCache>
                <c:formatCode>General</c:formatCode>
                <c:ptCount val="11"/>
                <c:pt idx="0">
                  <c:v>2.6820512519944004</c:v>
                </c:pt>
                <c:pt idx="1">
                  <c:v>1.8558885716800002</c:v>
                </c:pt>
                <c:pt idx="2">
                  <c:v>1.4308077229160001</c:v>
                </c:pt>
                <c:pt idx="3">
                  <c:v>1.2613001106887998</c:v>
                </c:pt>
                <c:pt idx="4">
                  <c:v>1.1743556697599999</c:v>
                </c:pt>
                <c:pt idx="5">
                  <c:v>0.69615419328000006</c:v>
                </c:pt>
                <c:pt idx="6">
                  <c:v>0.43693633984000002</c:v>
                </c:pt>
                <c:pt idx="7">
                  <c:v>0.43432638400139145</c:v>
                </c:pt>
                <c:pt idx="8">
                  <c:v>0.17136931812</c:v>
                </c:pt>
                <c:pt idx="9">
                  <c:v>0.16869670271999998</c:v>
                </c:pt>
                <c:pt idx="10">
                  <c:v>1.0262959814584516</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0.19749</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031271813803649</c:v>
                </c:pt>
                <c:pt idx="1">
                  <c:v>-1.1397816721972494</c:v>
                </c:pt>
                <c:pt idx="2">
                  <c:v>-1.1989570344555149</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031271813803649</c:v>
                </c:pt>
                <c:pt idx="1">
                  <c:v>-1.1397816721972494</c:v>
                </c:pt>
                <c:pt idx="2">
                  <c:v>-1.1989570344555149</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4.741559713371121</c:v>
                </c:pt>
                <c:pt idx="1">
                  <c:v>-25.533315535680668</c:v>
                </c:pt>
                <c:pt idx="2">
                  <c:v>-26.858958185790787</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4.741559713371121</c:v>
                </c:pt>
                <c:pt idx="1">
                  <c:v>-25.533315535680668</c:v>
                </c:pt>
                <c:pt idx="2">
                  <c:v>-26.858958185790787</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26.858958185790787</c:v>
                </c:pt>
                <c:pt idx="2">
                  <c:v>-31.141754100460272</c:v>
                </c:pt>
                <c:pt idx="3">
                  <c:v>-38.152564249457605</c:v>
                </c:pt>
                <c:pt idx="4">
                  <c:v>-37.748094540276512</c:v>
                </c:pt>
                <c:pt idx="5">
                  <c:v>-40.404909408112019</c:v>
                </c:pt>
                <c:pt idx="7">
                  <c:v>-36.861830574576601</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26.858958185790787</c:v>
                </c:pt>
                <c:pt idx="2">
                  <c:v>-31.141754100460272</c:v>
                </c:pt>
                <c:pt idx="3">
                  <c:v>-38.152564249457605</c:v>
                </c:pt>
                <c:pt idx="4">
                  <c:v>-37.748094540276512</c:v>
                </c:pt>
                <c:pt idx="5">
                  <c:v>-40.404909408112019</c:v>
                </c:pt>
                <c:pt idx="7">
                  <c:v>-36.861830574576601</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121.79234204708887</c:v>
                </c:pt>
                <c:pt idx="2">
                  <c:v>-132.22416978107077</c:v>
                </c:pt>
                <c:pt idx="3">
                  <c:v>-122.94607609654953</c:v>
                </c:pt>
                <c:pt idx="4">
                  <c:v>-136.48635629137874</c:v>
                </c:pt>
                <c:pt idx="5">
                  <c:v>-103.34470253956307</c:v>
                </c:pt>
                <c:pt idx="7">
                  <c:v>-123.75032617714052</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121.79234204708887</c:v>
                </c:pt>
                <c:pt idx="2">
                  <c:v>-132.22416978107077</c:v>
                </c:pt>
                <c:pt idx="3">
                  <c:v>-122.94607609654953</c:v>
                </c:pt>
                <c:pt idx="4">
                  <c:v>-136.48635629137874</c:v>
                </c:pt>
                <c:pt idx="5">
                  <c:v>-103.34470253956307</c:v>
                </c:pt>
                <c:pt idx="7">
                  <c:v>-123.75032617714052</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1049310271651147</c:v>
                </c:pt>
                <c:pt idx="2">
                  <c:v>-1.1049310271651147</c:v>
                </c:pt>
                <c:pt idx="3">
                  <c:v>-1.1397816721972494</c:v>
                </c:pt>
                <c:pt idx="4">
                  <c:v>-1.1397816721972494</c:v>
                </c:pt>
                <c:pt idx="6">
                  <c:v>-1.1431838117633062</c:v>
                </c:pt>
                <c:pt idx="7">
                  <c:v>-1.1431838117633062</c:v>
                </c:pt>
                <c:pt idx="8">
                  <c:v>-1.1989570344555149</c:v>
                </c:pt>
                <c:pt idx="9">
                  <c:v>-1.198957034455514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1031271813803649</c:v>
                </c:pt>
                <c:pt idx="5">
                  <c:v>-1.1397816721972494</c:v>
                </c:pt>
                <c:pt idx="10">
                  <c:v>-1.198957034455514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8038457847498052E-3</c:v>
                </c:pt>
                <c:pt idx="3">
                  <c:v>3.4850645032134628E-2</c:v>
                </c:pt>
                <c:pt idx="6">
                  <c:v>3.402139566056893E-3</c:v>
                </c:pt>
                <c:pt idx="8">
                  <c:v>5.5773222692208697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1031271813803649</c:v>
                </c:pt>
                <c:pt idx="5">
                  <c:v>-1.1397816721972494</c:v>
                </c:pt>
                <c:pt idx="10">
                  <c:v>-1.198957034455514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Oeverlengte *dichtheid *bodemf. gem.</c:v>
                </c:pt>
                <c:pt idx="4">
                  <c:v>Omgevingsadressendichtheid</c:v>
                </c:pt>
                <c:pt idx="5">
                  <c:v>Oeverlengte * bodemfactor gemeente</c:v>
                </c:pt>
                <c:pt idx="6">
                  <c:v>Land</c:v>
                </c:pt>
                <c:pt idx="7">
                  <c:v>Land * bodemfactor gemeente</c:v>
                </c:pt>
                <c:pt idx="10">
                  <c:v>Overig</c:v>
                </c:pt>
              </c:strCache>
            </c:strRef>
          </c:cat>
          <c:val>
            <c:numRef>
              <c:f>Sheet1!$B$2:$B$12</c:f>
              <c:numCache>
                <c:formatCode>General</c:formatCode>
                <c:ptCount val="11"/>
                <c:pt idx="0">
                  <c:v>-2.1185957764400003</c:v>
                </c:pt>
                <c:pt idx="1">
                  <c:v>0.8295569503936</c:v>
                </c:pt>
                <c:pt idx="2">
                  <c:v>-0.39361063196000001</c:v>
                </c:pt>
                <c:pt idx="3">
                  <c:v>0.26783460346752475</c:v>
                </c:pt>
                <c:pt idx="4">
                  <c:v>0.20742112115296002</c:v>
                </c:pt>
                <c:pt idx="5">
                  <c:v>1.2407391516000002E-2</c:v>
                </c:pt>
                <c:pt idx="6">
                  <c:v>-9.7093339200000003E-3</c:v>
                </c:pt>
                <c:pt idx="7">
                  <c:v>5.7386413343999999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7826411771023998</c:v>
                </c:pt>
                <c:pt idx="1">
                  <c:v>3.9301906024039992</c:v>
                </c:pt>
                <c:pt idx="2">
                  <c:v>4.13830319841952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7826411771023998</c:v>
                </c:pt>
                <c:pt idx="1">
                  <c:v>3.9301906024039992</c:v>
                </c:pt>
                <c:pt idx="2">
                  <c:v>4.13830319841952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4.839213589521378</c:v>
                </c:pt>
                <c:pt idx="1">
                  <c:v>88.043876484777869</c:v>
                </c:pt>
                <c:pt idx="2">
                  <c:v>92.70600144312194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4.839213589521378</c:v>
                </c:pt>
                <c:pt idx="1">
                  <c:v>88.043876484777869</c:v>
                </c:pt>
                <c:pt idx="2">
                  <c:v>92.70600144312194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92.706001443121949</c:v>
                </c:pt>
                <c:pt idx="2">
                  <c:v>84.6405616553496</c:v>
                </c:pt>
                <c:pt idx="3">
                  <c:v>104.94548341725542</c:v>
                </c:pt>
                <c:pt idx="4">
                  <c:v>76.346461476712832</c:v>
                </c:pt>
                <c:pt idx="5">
                  <c:v>96.421586450109558</c:v>
                </c:pt>
                <c:pt idx="7">
                  <c:v>90.588523249856848</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92.706001443121949</c:v>
                </c:pt>
                <c:pt idx="2">
                  <c:v>84.6405616553496</c:v>
                </c:pt>
                <c:pt idx="3">
                  <c:v>104.94548341725542</c:v>
                </c:pt>
                <c:pt idx="4">
                  <c:v>76.346461476712832</c:v>
                </c:pt>
                <c:pt idx="5">
                  <c:v>96.421586450109558</c:v>
                </c:pt>
                <c:pt idx="7">
                  <c:v>90.588523249856848</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7826411771023998</c:v>
                </c:pt>
                <c:pt idx="2">
                  <c:v>3.8101701740186997</c:v>
                </c:pt>
                <c:pt idx="3">
                  <c:v>3.8101701740186997</c:v>
                </c:pt>
                <c:pt idx="4">
                  <c:v>3.9301906024039992</c:v>
                </c:pt>
                <c:pt idx="6">
                  <c:v>3.9301906024039992</c:v>
                </c:pt>
                <c:pt idx="7">
                  <c:v>3.9458213547522014</c:v>
                </c:pt>
                <c:pt idx="8">
                  <c:v>3.9458213547522014</c:v>
                </c:pt>
                <c:pt idx="9">
                  <c:v>4.138303198419520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7826411771023998</c:v>
                </c:pt>
                <c:pt idx="5">
                  <c:v>3.9301906024039992</c:v>
                </c:pt>
                <c:pt idx="10">
                  <c:v>4.13830319841952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2.7528996916300088E-2</c:v>
                </c:pt>
                <c:pt idx="3">
                  <c:v>0.12002042838529933</c:v>
                </c:pt>
                <c:pt idx="6">
                  <c:v>1.5630752348202319E-2</c:v>
                </c:pt>
                <c:pt idx="8">
                  <c:v>0.1924818436673189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7826411771023998</c:v>
                </c:pt>
                <c:pt idx="5">
                  <c:v>3.9301906024039992</c:v>
                </c:pt>
                <c:pt idx="10">
                  <c:v>4.13830319841952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Minderheden</c:v>
                </c:pt>
                <c:pt idx="3">
                  <c:v>Woz waarde niet woningen (in mln)</c:v>
                </c:pt>
                <c:pt idx="4">
                  <c:v>Kernen met minstens 500 adressen</c:v>
                </c:pt>
                <c:pt idx="5">
                  <c:v>Huishoudens laag inkomen (drempel)</c:v>
                </c:pt>
                <c:pt idx="6">
                  <c:v>Klantenpotentieel regionaal</c:v>
                </c:pt>
                <c:pt idx="7">
                  <c:v>Opp. bebouwing totaal</c:v>
                </c:pt>
                <c:pt idx="8">
                  <c:v>Klantenpotentieel lokaal</c:v>
                </c:pt>
                <c:pt idx="9">
                  <c:v>Bedrijfsvestigingen</c:v>
                </c:pt>
                <c:pt idx="10">
                  <c:v>Overig</c:v>
                </c:pt>
              </c:strCache>
            </c:strRef>
          </c:cat>
          <c:val>
            <c:numRef>
              <c:f>Sheet1!$B$2:$B$12</c:f>
              <c:numCache>
                <c:formatCode>General</c:formatCode>
                <c:ptCount val="11"/>
                <c:pt idx="0">
                  <c:v>1.9482180317600002</c:v>
                </c:pt>
                <c:pt idx="1">
                  <c:v>0.90935617353152021</c:v>
                </c:pt>
                <c:pt idx="2">
                  <c:v>0.41616407559999996</c:v>
                </c:pt>
                <c:pt idx="3">
                  <c:v>0.34413855184800007</c:v>
                </c:pt>
                <c:pt idx="4">
                  <c:v>0.17899132160000003</c:v>
                </c:pt>
                <c:pt idx="5">
                  <c:v>9.6811384279999996E-2</c:v>
                </c:pt>
                <c:pt idx="6">
                  <c:v>6.9831840000000006E-2</c:v>
                </c:pt>
                <c:pt idx="7">
                  <c:v>4.7723195520000004E-2</c:v>
                </c:pt>
                <c:pt idx="8">
                  <c:v>4.5793696000000002E-2</c:v>
                </c:pt>
                <c:pt idx="9">
                  <c:v>3.9620380800000007E-2</c:v>
                </c:pt>
                <c:pt idx="10">
                  <c:v>4.165454748000119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5846954427280009</c:v>
                </c:pt>
                <c:pt idx="1">
                  <c:v>4.7592598192399995</c:v>
                </c:pt>
                <c:pt idx="2">
                  <c:v>4.993680465914398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5846954427280009</c:v>
                </c:pt>
                <c:pt idx="1">
                  <c:v>4.7592598192399995</c:v>
                </c:pt>
                <c:pt idx="2">
                  <c:v>4.993680465914398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2.82813983600235</c:v>
                </c:pt>
                <c:pt idx="1">
                  <c:v>106.61663162794864</c:v>
                </c:pt>
                <c:pt idx="2">
                  <c:v>111.8681078409999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2.82813983600235</c:v>
                </c:pt>
                <c:pt idx="1">
                  <c:v>106.61663162794864</c:v>
                </c:pt>
                <c:pt idx="2">
                  <c:v>111.8681078409999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7658470048757779</c:v>
                </c:pt>
                <c:pt idx="2">
                  <c:v>-5.7658470048757779</c:v>
                </c:pt>
                <c:pt idx="3">
                  <c:v>-5.7770229725999993</c:v>
                </c:pt>
                <c:pt idx="4">
                  <c:v>-5.7770229725999993</c:v>
                </c:pt>
                <c:pt idx="6">
                  <c:v>-5.788975196735926</c:v>
                </c:pt>
                <c:pt idx="7">
                  <c:v>-5.788975196735926</c:v>
                </c:pt>
                <c:pt idx="8">
                  <c:v>-5.4366883566399995</c:v>
                </c:pt>
                <c:pt idx="9">
                  <c:v>-5.436688356639999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5.6396375238000003</c:v>
                </c:pt>
                <c:pt idx="5">
                  <c:v>-5.7770229726000002</c:v>
                </c:pt>
                <c:pt idx="10">
                  <c:v>-5.436688356639999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6.935350604508779E-2</c:v>
                </c:pt>
                <c:pt idx="7">
                  <c:v>1.339990939647068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2620948107577803</c:v>
                </c:pt>
                <c:pt idx="3">
                  <c:v>8.0529473769309703E-2</c:v>
                </c:pt>
                <c:pt idx="6">
                  <c:v>1.1952224135925539E-2</c:v>
                </c:pt>
                <c:pt idx="8">
                  <c:v>0.98770409955114247</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6396375238000003</c:v>
                </c:pt>
                <c:pt idx="5">
                  <c:v>-5.7770229726000002</c:v>
                </c:pt>
                <c:pt idx="10">
                  <c:v>-5.436688356639999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C$2:$C$10</c:f>
              <c:numCache>
                <c:formatCode>General</c:formatCode>
                <c:ptCount val="9"/>
                <c:pt idx="0">
                  <c:v>111.86810784099998</c:v>
                </c:pt>
                <c:pt idx="2">
                  <c:v>113.72758417836147</c:v>
                </c:pt>
                <c:pt idx="3">
                  <c:v>112.42242738339907</c:v>
                </c:pt>
                <c:pt idx="4">
                  <c:v>109.99100839522828</c:v>
                </c:pt>
                <c:pt idx="5">
                  <c:v>114.79628064956511</c:v>
                </c:pt>
                <c:pt idx="7">
                  <c:v>112.73432515163849</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Zwijndrecht</c:v>
                </c:pt>
                <c:pt idx="2">
                  <c:v>Medemblik</c:v>
                </c:pt>
                <c:pt idx="3">
                  <c:v>Vlissingen</c:v>
                </c:pt>
                <c:pt idx="4">
                  <c:v>Heusden</c:v>
                </c:pt>
                <c:pt idx="5">
                  <c:v>Noardeast-Fryslân</c:v>
                </c:pt>
                <c:pt idx="7">
                  <c:v>4 gemeenten</c:v>
                </c:pt>
                <c:pt idx="8">
                  <c:v>Landelijk</c:v>
                </c:pt>
              </c:strCache>
            </c:strRef>
          </c:cat>
          <c:val>
            <c:numRef>
              <c:f>Sheet1!$B$2:$B$10</c:f>
              <c:numCache>
                <c:formatCode>General</c:formatCode>
                <c:ptCount val="9"/>
                <c:pt idx="0">
                  <c:v>111.86810784099998</c:v>
                </c:pt>
                <c:pt idx="2">
                  <c:v>113.72758417836147</c:v>
                </c:pt>
                <c:pt idx="3">
                  <c:v>112.42242738339907</c:v>
                </c:pt>
                <c:pt idx="4">
                  <c:v>109.99100839522828</c:v>
                </c:pt>
                <c:pt idx="5">
                  <c:v>114.79628064956511</c:v>
                </c:pt>
                <c:pt idx="7">
                  <c:v>112.73432515163849</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5846954427280009</c:v>
                </c:pt>
                <c:pt idx="2">
                  <c:v>4.5944903301865629</c:v>
                </c:pt>
                <c:pt idx="3">
                  <c:v>4.6138600923471254</c:v>
                </c:pt>
                <c:pt idx="4">
                  <c:v>4.7592598192399995</c:v>
                </c:pt>
                <c:pt idx="6">
                  <c:v>4.7592598192399995</c:v>
                </c:pt>
                <c:pt idx="7">
                  <c:v>4.7613451207247648</c:v>
                </c:pt>
                <c:pt idx="8">
                  <c:v>4.7613451207247648</c:v>
                </c:pt>
                <c:pt idx="9">
                  <c:v>4.993680465914398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5846954427280009</c:v>
                </c:pt>
                <c:pt idx="5">
                  <c:v>4.7592598192399995</c:v>
                </c:pt>
                <c:pt idx="10">
                  <c:v>4.993680465914398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9.7948874585618104E-3</c:v>
                </c:pt>
                <c:pt idx="2">
                  <c:v>1.936976216056251E-2</c:v>
                </c:pt>
                <c:pt idx="3">
                  <c:v>0.14539972689287434</c:v>
                </c:pt>
                <c:pt idx="6">
                  <c:v>4.1444992241788294E-3</c:v>
                </c:pt>
                <c:pt idx="8">
                  <c:v>0.2323353451896329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2.0591977394132086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5846954427280009</c:v>
                </c:pt>
                <c:pt idx="5">
                  <c:v>4.7592598192399995</c:v>
                </c:pt>
                <c:pt idx="10">
                  <c:v>4.993680465914398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Minderheden</c:v>
                </c:pt>
                <c:pt idx="5">
                  <c:v>Klantenpotentieel regionaal</c:v>
                </c:pt>
                <c:pt idx="6">
                  <c:v>Bewoonde oorden 1930</c:v>
                </c:pt>
                <c:pt idx="7">
                  <c:v>Bedrijfsvestigingen</c:v>
                </c:pt>
                <c:pt idx="8">
                  <c:v>Land</c:v>
                </c:pt>
                <c:pt idx="9">
                  <c:v>Minderheden (drempel)</c:v>
                </c:pt>
                <c:pt idx="10">
                  <c:v>Overig</c:v>
                </c:pt>
              </c:strCache>
            </c:strRef>
          </c:cat>
          <c:val>
            <c:numRef>
              <c:f>Sheet1!$B$2:$B$12</c:f>
              <c:numCache>
                <c:formatCode>General</c:formatCode>
                <c:ptCount val="11"/>
                <c:pt idx="0">
                  <c:v>3.6720202100400003</c:v>
                </c:pt>
                <c:pt idx="1">
                  <c:v>1.0993183916000002</c:v>
                </c:pt>
                <c:pt idx="2">
                  <c:v>0.28248488112000003</c:v>
                </c:pt>
                <c:pt idx="3">
                  <c:v>-0.23695459204560004</c:v>
                </c:pt>
                <c:pt idx="4">
                  <c:v>0.15086127680000003</c:v>
                </c:pt>
                <c:pt idx="5">
                  <c:v>-9.1479710400000011E-2</c:v>
                </c:pt>
                <c:pt idx="6">
                  <c:v>6.8877536000000003E-2</c:v>
                </c:pt>
                <c:pt idx="7">
                  <c:v>4.5250645440000001E-2</c:v>
                </c:pt>
                <c:pt idx="8">
                  <c:v>3.3018273600000005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rgoeding raadsleden gemeent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3.0201995999999998</c:v>
                </c:pt>
                <c:pt idx="1">
                  <c:v>-0.88808984264000002</c:v>
                </c:pt>
                <c:pt idx="2">
                  <c:v>-0.80260265400000008</c:v>
                </c:pt>
                <c:pt idx="3">
                  <c:v>-0.78215984000000005</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6175927078776002</c:v>
                </c:pt>
                <c:pt idx="1">
                  <c:v>7.4283638301342299</c:v>
                </c:pt>
                <c:pt idx="2">
                  <c:v>7.840684810644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27576000000000001</c:v>
                </c:pt>
                <c:pt idx="1">
                  <c:v>4.0590380000000001</c:v>
                </c:pt>
                <c:pt idx="2">
                  <c:v>3.9996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8933527078776002</c:v>
                </c:pt>
                <c:pt idx="1">
                  <c:v>11.48740183013423</c:v>
                </c:pt>
                <c:pt idx="2">
                  <c:v>11.840344810644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75.212829676995597</cx:pt>
          <cx:pt idx="1">-5.4366883566399995</cx:pt>
          <cx:pt idx="2">69.776141320355592</cx:pt>
          <cx:pt idx="3">5.9588750000000061</cx:pt>
          <cx:pt idx="4">75.735016320355598</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Zwijndrecht</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Zwijndrecht is ca. 76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1625553375"/>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Zwijndrecht</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75,7</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6,0</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69,8</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5,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75,2</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Zwijndrecht is ca. 76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3089473669"/>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534378325"/>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3549245002"/>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Zwijndrecht</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056884485"/>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67,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2,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5,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Zwijndrecht is ca. 76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Zwijndrecht</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025326512"/>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9,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0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1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9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08,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0,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Zwijndrecht ca. 1.697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Zwijndrecht</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108675941"/>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Zwijndrecht</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69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01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317 euro mind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Zwijndrecht</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42658663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06158112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58368227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4.58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45492386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83563170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93888583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6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8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1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1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8.4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43029413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68613565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131165995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68742082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84612596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84408657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4.58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4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2997651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28180467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1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8 / 2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36669656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6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8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1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1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8.4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55843807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25680977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7,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33004879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79086471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86141704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9315506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96927586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61803710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4.58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6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86768935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65966954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57013583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6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8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1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1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8.4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30652219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55787437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71827739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35344840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99822131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38834833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58323715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05144600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867</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8.78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8.78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35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40720511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34970971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6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69999728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7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1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82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4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7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00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56437988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07836245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3,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48756454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05800408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02216643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83175115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96981317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28720390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4.58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14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61885677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28493598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 / 5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2 / 5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14742621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6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8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1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1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8.4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10616424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80891733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8,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22631153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99741520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09586867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55487857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54934166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93735563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867</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8.78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8.78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19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18663190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10566668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19890333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7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1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82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4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7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00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88033266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55226422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S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89676145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71297870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50319716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94101253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47764764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6830426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4.58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33285823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23629972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77672783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6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8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1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1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8.4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22321404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84875200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62013228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45359183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 in de sta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zondsheidsachterstand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29873659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62772929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31859289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4.58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3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80877976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5723101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62816083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6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8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1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1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8.4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64361755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5434163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07733942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17382030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09654156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79342516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53442596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06411895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6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09737438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01768995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0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14219090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6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8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1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1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8.4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27850317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18860020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1,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73475379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83486084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82862791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42635019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4.58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122190278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8878577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0 mind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52962871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91028760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6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8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1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1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8.4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66155034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07029177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39055637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91825650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77257816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900412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48702580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4.58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0317015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8609260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55272037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6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8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1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1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8.4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Zwijndrecht,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2744863170"/>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75,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5,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5,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0773676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85863718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45563276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96398878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20030330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9319859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70986239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75678181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4.58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4.6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04682130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47685342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14195319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6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8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1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1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8.4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54239819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16661927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62920706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52720489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21863391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Zwijndrecht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021545079"/>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67,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2,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5,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Zwijndrecht is ca. 76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Zwijndrecht</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594859277"/>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0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1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9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108</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Zwijndrecht ca. 1.697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Zwijndrecht</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1667876534"/>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Zwijndrecht</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44.639</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Medemblik</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44.809</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Vlissing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44.371</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Heusd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44.135</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Noardeast-Fryslâ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45.181</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178432682"/>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Zwijndrecht</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69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01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317 mind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Zwijndrecht</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3042753651"/>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1787814405"/>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5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63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63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Zwijndrecht,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715</Words>
  <Application>Microsoft Office PowerPoint</Application>
  <PresentationFormat>Widescreen</PresentationFormat>
  <Paragraphs>2185</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Zwijndrecht is ca. 76 mln (1/3)</vt:lpstr>
      <vt:lpstr>Totale uitkering voor Zwijndrecht is ca. 76 mln (2/3)</vt:lpstr>
      <vt:lpstr>Totale uitkering voor Zwijndrecht is ca. 76 mln (3/3)</vt:lpstr>
      <vt:lpstr>Per inwoner ontvangt Zwijndrecht ca. 1.697 euro</vt:lpstr>
      <vt:lpstr>Dit is ca. 317 euro mind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Zwijndrecht is ca. 76 mln</vt:lpstr>
      <vt:lpstr>Per inwoner ontvangt Zwijndrecht ca. 1.697 euro</vt:lpstr>
      <vt:lpstr>Dit is ca. €317 mind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17:33:31Z</dcterms:modified>
</cp:coreProperties>
</file>